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56" r:id="rId5"/>
    <p:sldId id="2147375589" r:id="rId6"/>
    <p:sldId id="4848" r:id="rId7"/>
    <p:sldId id="2147375597" r:id="rId8"/>
    <p:sldId id="2147375615" r:id="rId9"/>
    <p:sldId id="2147375616" r:id="rId10"/>
    <p:sldId id="2147375602" r:id="rId11"/>
    <p:sldId id="2147375603" r:id="rId12"/>
    <p:sldId id="2147375617" r:id="rId13"/>
    <p:sldId id="2147375618" r:id="rId14"/>
    <p:sldId id="2147375607" r:id="rId15"/>
    <p:sldId id="2147375619" r:id="rId16"/>
    <p:sldId id="2147375620" r:id="rId17"/>
    <p:sldId id="2147375610" r:id="rId18"/>
    <p:sldId id="2147375611" r:id="rId19"/>
    <p:sldId id="2147375612" r:id="rId20"/>
    <p:sldId id="2147375613" r:id="rId21"/>
    <p:sldId id="2147375614" r:id="rId22"/>
    <p:sldId id="163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924872-C28E-4101-B007-DD18D99DCA90}" v="190" dt="2024-09-06T11:20:54.5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p:scale>
          <a:sx n="75" d="100"/>
          <a:sy n="75" d="100"/>
        </p:scale>
        <p:origin x="324" y="-240"/>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el, Akanksha SBOBNG-PTIY/BFE" userId="d324206b-0bb8-422e-86a5-a07b99bb3f60" providerId="ADAL" clId="{26924872-C28E-4101-B007-DD18D99DCA90}"/>
    <pc:docChg chg="undo redo custSel addSld delSld modSld">
      <pc:chgData name="Goel, Akanksha SBOBNG-PTIY/BFE" userId="d324206b-0bb8-422e-86a5-a07b99bb3f60" providerId="ADAL" clId="{26924872-C28E-4101-B007-DD18D99DCA90}" dt="2024-09-06T11:21:54.827" v="10812" actId="1076"/>
      <pc:docMkLst>
        <pc:docMk/>
      </pc:docMkLst>
      <pc:sldChg chg="addSp delSp modSp mod">
        <pc:chgData name="Goel, Akanksha SBOBNG-PTIY/BFE" userId="d324206b-0bb8-422e-86a5-a07b99bb3f60" providerId="ADAL" clId="{26924872-C28E-4101-B007-DD18D99DCA90}" dt="2024-09-06T09:47:28.549" v="6334" actId="20577"/>
        <pc:sldMkLst>
          <pc:docMk/>
          <pc:sldMk cId="3267775274" sldId="256"/>
        </pc:sldMkLst>
        <pc:spChg chg="mod">
          <ac:chgData name="Goel, Akanksha SBOBNG-PTIY/BFE" userId="d324206b-0bb8-422e-86a5-a07b99bb3f60" providerId="ADAL" clId="{26924872-C28E-4101-B007-DD18D99DCA90}" dt="2024-09-06T09:47:20.499" v="6324" actId="20577"/>
          <ac:spMkLst>
            <pc:docMk/>
            <pc:sldMk cId="3267775274" sldId="256"/>
            <ac:spMk id="6" creationId="{0C37A4A8-A3C7-407F-B123-88E2E165C827}"/>
          </ac:spMkLst>
        </pc:spChg>
        <pc:spChg chg="mod">
          <ac:chgData name="Goel, Akanksha SBOBNG-PTIY/BFE" userId="d324206b-0bb8-422e-86a5-a07b99bb3f60" providerId="ADAL" clId="{26924872-C28E-4101-B007-DD18D99DCA90}" dt="2024-09-06T09:47:28.549" v="6334" actId="20577"/>
          <ac:spMkLst>
            <pc:docMk/>
            <pc:sldMk cId="3267775274" sldId="256"/>
            <ac:spMk id="13" creationId="{C48F8DD6-A1B3-8126-FAC3-218B712C7FFB}"/>
          </ac:spMkLst>
        </pc:spChg>
        <pc:picChg chg="add del mod">
          <ac:chgData name="Goel, Akanksha SBOBNG-PTIY/BFE" userId="d324206b-0bb8-422e-86a5-a07b99bb3f60" providerId="ADAL" clId="{26924872-C28E-4101-B007-DD18D99DCA90}" dt="2024-09-06T09:47:16.939" v="6322" actId="478"/>
          <ac:picMkLst>
            <pc:docMk/>
            <pc:sldMk cId="3267775274" sldId="256"/>
            <ac:picMk id="2050" creationId="{5A11D131-BC7B-26CC-584D-46A18CC01F1A}"/>
          </ac:picMkLst>
        </pc:picChg>
      </pc:sldChg>
      <pc:sldChg chg="addSp modSp mod">
        <pc:chgData name="Goel, Akanksha SBOBNG-PTIY/BFE" userId="d324206b-0bb8-422e-86a5-a07b99bb3f60" providerId="ADAL" clId="{26924872-C28E-4101-B007-DD18D99DCA90}" dt="2024-08-31T06:18:04.936" v="148" actId="14100"/>
        <pc:sldMkLst>
          <pc:docMk/>
          <pc:sldMk cId="867832184" sldId="2147375589"/>
        </pc:sldMkLst>
        <pc:spChg chg="mod">
          <ac:chgData name="Goel, Akanksha SBOBNG-PTIY/BFE" userId="d324206b-0bb8-422e-86a5-a07b99bb3f60" providerId="ADAL" clId="{26924872-C28E-4101-B007-DD18D99DCA90}" dt="2024-08-31T06:13:26.259" v="143" actId="20577"/>
          <ac:spMkLst>
            <pc:docMk/>
            <pc:sldMk cId="867832184" sldId="2147375589"/>
            <ac:spMk id="10" creationId="{1119CB9E-042F-11E8-F683-654626D307B3}"/>
          </ac:spMkLst>
        </pc:spChg>
        <pc:picChg chg="add mod">
          <ac:chgData name="Goel, Akanksha SBOBNG-PTIY/BFE" userId="d324206b-0bb8-422e-86a5-a07b99bb3f60" providerId="ADAL" clId="{26924872-C28E-4101-B007-DD18D99DCA90}" dt="2024-08-31T06:18:04.936" v="148" actId="14100"/>
          <ac:picMkLst>
            <pc:docMk/>
            <pc:sldMk cId="867832184" sldId="2147375589"/>
            <ac:picMk id="1026" creationId="{3810DC72-6659-1400-C59B-2D933DE23122}"/>
          </ac:picMkLst>
        </pc:picChg>
      </pc:sldChg>
      <pc:sldChg chg="addSp delSp modSp mod">
        <pc:chgData name="Goel, Akanksha SBOBNG-PTIY/BFE" userId="d324206b-0bb8-422e-86a5-a07b99bb3f60" providerId="ADAL" clId="{26924872-C28E-4101-B007-DD18D99DCA90}" dt="2024-09-06T09:58:57.142" v="6826" actId="14100"/>
        <pc:sldMkLst>
          <pc:docMk/>
          <pc:sldMk cId="245881457" sldId="2147375597"/>
        </pc:sldMkLst>
        <pc:spChg chg="mod">
          <ac:chgData name="Goel, Akanksha SBOBNG-PTIY/BFE" userId="d324206b-0bb8-422e-86a5-a07b99bb3f60" providerId="ADAL" clId="{26924872-C28E-4101-B007-DD18D99DCA90}" dt="2024-09-06T09:57:31.168" v="6815" actId="1076"/>
          <ac:spMkLst>
            <pc:docMk/>
            <pc:sldMk cId="245881457" sldId="2147375597"/>
            <ac:spMk id="3" creationId="{CEA128C4-A0BC-A895-713C-306E7FF62894}"/>
          </ac:spMkLst>
        </pc:spChg>
        <pc:spChg chg="mod">
          <ac:chgData name="Goel, Akanksha SBOBNG-PTIY/BFE" userId="d324206b-0bb8-422e-86a5-a07b99bb3f60" providerId="ADAL" clId="{26924872-C28E-4101-B007-DD18D99DCA90}" dt="2024-08-31T07:46:28.617" v="527" actId="1076"/>
          <ac:spMkLst>
            <pc:docMk/>
            <pc:sldMk cId="245881457" sldId="2147375597"/>
            <ac:spMk id="10" creationId="{8686D658-9330-BA20-4BC9-1E47EEC5B53D}"/>
          </ac:spMkLst>
        </pc:spChg>
        <pc:spChg chg="mod">
          <ac:chgData name="Goel, Akanksha SBOBNG-PTIY/BFE" userId="d324206b-0bb8-422e-86a5-a07b99bb3f60" providerId="ADAL" clId="{26924872-C28E-4101-B007-DD18D99DCA90}" dt="2024-09-06T09:57:25.598" v="6814" actId="1076"/>
          <ac:spMkLst>
            <pc:docMk/>
            <pc:sldMk cId="245881457" sldId="2147375597"/>
            <ac:spMk id="11" creationId="{DE9F1BE0-7910-FA1B-DCE8-56EFD1E4FC09}"/>
          </ac:spMkLst>
        </pc:spChg>
        <pc:spChg chg="del mod">
          <ac:chgData name="Goel, Akanksha SBOBNG-PTIY/BFE" userId="d324206b-0bb8-422e-86a5-a07b99bb3f60" providerId="ADAL" clId="{26924872-C28E-4101-B007-DD18D99DCA90}" dt="2024-08-31T07:46:33.055" v="528" actId="478"/>
          <ac:spMkLst>
            <pc:docMk/>
            <pc:sldMk cId="245881457" sldId="2147375597"/>
            <ac:spMk id="12" creationId="{E53E5C3F-4D2B-B85F-E592-E58E032C664C}"/>
          </ac:spMkLst>
        </pc:spChg>
        <pc:picChg chg="add mod">
          <ac:chgData name="Goel, Akanksha SBOBNG-PTIY/BFE" userId="d324206b-0bb8-422e-86a5-a07b99bb3f60" providerId="ADAL" clId="{26924872-C28E-4101-B007-DD18D99DCA90}" dt="2024-09-06T09:58:57.142" v="6826" actId="14100"/>
          <ac:picMkLst>
            <pc:docMk/>
            <pc:sldMk cId="245881457" sldId="2147375597"/>
            <ac:picMk id="1026" creationId="{029E9A52-6361-496E-47E3-6C89247B5C2D}"/>
          </ac:picMkLst>
        </pc:picChg>
        <pc:picChg chg="add del mod">
          <ac:chgData name="Goel, Akanksha SBOBNG-PTIY/BFE" userId="d324206b-0bb8-422e-86a5-a07b99bb3f60" providerId="ADAL" clId="{26924872-C28E-4101-B007-DD18D99DCA90}" dt="2024-09-06T09:57:11.990" v="6812" actId="478"/>
          <ac:picMkLst>
            <pc:docMk/>
            <pc:sldMk cId="245881457" sldId="2147375597"/>
            <ac:picMk id="3074" creationId="{2C1C5446-4B8E-5F1F-9505-95E115DD4F71}"/>
          </ac:picMkLst>
        </pc:picChg>
      </pc:sldChg>
      <pc:sldChg chg="del">
        <pc:chgData name="Goel, Akanksha SBOBNG-PTIY/BFE" userId="d324206b-0bb8-422e-86a5-a07b99bb3f60" providerId="ADAL" clId="{26924872-C28E-4101-B007-DD18D99DCA90}" dt="2024-08-31T07:03:46.054" v="496" actId="2696"/>
        <pc:sldMkLst>
          <pc:docMk/>
          <pc:sldMk cId="1181112711" sldId="2147375600"/>
        </pc:sldMkLst>
      </pc:sldChg>
      <pc:sldChg chg="del">
        <pc:chgData name="Goel, Akanksha SBOBNG-PTIY/BFE" userId="d324206b-0bb8-422e-86a5-a07b99bb3f60" providerId="ADAL" clId="{26924872-C28E-4101-B007-DD18D99DCA90}" dt="2024-08-31T07:03:59.912" v="500" actId="2696"/>
        <pc:sldMkLst>
          <pc:docMk/>
          <pc:sldMk cId="3233747587" sldId="2147375601"/>
        </pc:sldMkLst>
      </pc:sldChg>
      <pc:sldChg chg="addSp delSp modSp mod">
        <pc:chgData name="Goel, Akanksha SBOBNG-PTIY/BFE" userId="d324206b-0bb8-422e-86a5-a07b99bb3f60" providerId="ADAL" clId="{26924872-C28E-4101-B007-DD18D99DCA90}" dt="2024-09-06T10:27:41.832" v="7750" actId="1076"/>
        <pc:sldMkLst>
          <pc:docMk/>
          <pc:sldMk cId="3971512377" sldId="2147375603"/>
        </pc:sldMkLst>
        <pc:spChg chg="mod">
          <ac:chgData name="Goel, Akanksha SBOBNG-PTIY/BFE" userId="d324206b-0bb8-422e-86a5-a07b99bb3f60" providerId="ADAL" clId="{26924872-C28E-4101-B007-DD18D99DCA90}" dt="2024-08-31T08:18:46.028" v="2164" actId="20577"/>
          <ac:spMkLst>
            <pc:docMk/>
            <pc:sldMk cId="3971512377" sldId="2147375603"/>
            <ac:spMk id="3" creationId="{CEA128C4-A0BC-A895-713C-306E7FF62894}"/>
          </ac:spMkLst>
        </pc:spChg>
        <pc:spChg chg="mod">
          <ac:chgData name="Goel, Akanksha SBOBNG-PTIY/BFE" userId="d324206b-0bb8-422e-86a5-a07b99bb3f60" providerId="ADAL" clId="{26924872-C28E-4101-B007-DD18D99DCA90}" dt="2024-09-06T10:26:27.559" v="7747" actId="108"/>
          <ac:spMkLst>
            <pc:docMk/>
            <pc:sldMk cId="3971512377" sldId="2147375603"/>
            <ac:spMk id="11" creationId="{DE9F1BE0-7910-FA1B-DCE8-56EFD1E4FC09}"/>
          </ac:spMkLst>
        </pc:spChg>
        <pc:spChg chg="del">
          <ac:chgData name="Goel, Akanksha SBOBNG-PTIY/BFE" userId="d324206b-0bb8-422e-86a5-a07b99bb3f60" providerId="ADAL" clId="{26924872-C28E-4101-B007-DD18D99DCA90}" dt="2024-08-31T08:18:03.437" v="2150" actId="478"/>
          <ac:spMkLst>
            <pc:docMk/>
            <pc:sldMk cId="3971512377" sldId="2147375603"/>
            <ac:spMk id="12" creationId="{E53E5C3F-4D2B-B85F-E592-E58E032C664C}"/>
          </ac:spMkLst>
        </pc:spChg>
        <pc:picChg chg="add mod">
          <ac:chgData name="Goel, Akanksha SBOBNG-PTIY/BFE" userId="d324206b-0bb8-422e-86a5-a07b99bb3f60" providerId="ADAL" clId="{26924872-C28E-4101-B007-DD18D99DCA90}" dt="2024-09-06T10:27:41.832" v="7750" actId="1076"/>
          <ac:picMkLst>
            <pc:docMk/>
            <pc:sldMk cId="3971512377" sldId="2147375603"/>
            <ac:picMk id="4098" creationId="{5D403408-0D9C-5668-5926-72A7E7737059}"/>
          </ac:picMkLst>
        </pc:picChg>
        <pc:picChg chg="add del mod">
          <ac:chgData name="Goel, Akanksha SBOBNG-PTIY/BFE" userId="d324206b-0bb8-422e-86a5-a07b99bb3f60" providerId="ADAL" clId="{26924872-C28E-4101-B007-DD18D99DCA90}" dt="2024-09-06T10:26:30.939" v="7748" actId="478"/>
          <ac:picMkLst>
            <pc:docMk/>
            <pc:sldMk cId="3971512377" sldId="2147375603"/>
            <ac:picMk id="6146" creationId="{808A51EE-7268-AAF1-7963-2CAF7933130E}"/>
          </ac:picMkLst>
        </pc:picChg>
      </pc:sldChg>
      <pc:sldChg chg="del">
        <pc:chgData name="Goel, Akanksha SBOBNG-PTIY/BFE" userId="d324206b-0bb8-422e-86a5-a07b99bb3f60" providerId="ADAL" clId="{26924872-C28E-4101-B007-DD18D99DCA90}" dt="2024-08-31T08:19:30.655" v="2200" actId="2696"/>
        <pc:sldMkLst>
          <pc:docMk/>
          <pc:sldMk cId="3179805674" sldId="2147375604"/>
        </pc:sldMkLst>
      </pc:sldChg>
      <pc:sldChg chg="del">
        <pc:chgData name="Goel, Akanksha SBOBNG-PTIY/BFE" userId="d324206b-0bb8-422e-86a5-a07b99bb3f60" providerId="ADAL" clId="{26924872-C28E-4101-B007-DD18D99DCA90}" dt="2024-08-31T08:19:33.482" v="2201" actId="2696"/>
        <pc:sldMkLst>
          <pc:docMk/>
          <pc:sldMk cId="86366928" sldId="2147375605"/>
        </pc:sldMkLst>
      </pc:sldChg>
      <pc:sldChg chg="del">
        <pc:chgData name="Goel, Akanksha SBOBNG-PTIY/BFE" userId="d324206b-0bb8-422e-86a5-a07b99bb3f60" providerId="ADAL" clId="{26924872-C28E-4101-B007-DD18D99DCA90}" dt="2024-08-31T06:30:06.401" v="153" actId="47"/>
        <pc:sldMkLst>
          <pc:docMk/>
          <pc:sldMk cId="2653617092" sldId="2147375606"/>
        </pc:sldMkLst>
      </pc:sldChg>
      <pc:sldChg chg="addSp delSp modSp mod">
        <pc:chgData name="Goel, Akanksha SBOBNG-PTIY/BFE" userId="d324206b-0bb8-422e-86a5-a07b99bb3f60" providerId="ADAL" clId="{26924872-C28E-4101-B007-DD18D99DCA90}" dt="2024-09-06T10:48:25.914" v="8277" actId="1076"/>
        <pc:sldMkLst>
          <pc:docMk/>
          <pc:sldMk cId="2340944189" sldId="2147375607"/>
        </pc:sldMkLst>
        <pc:spChg chg="mod">
          <ac:chgData name="Goel, Akanksha SBOBNG-PTIY/BFE" userId="d324206b-0bb8-422e-86a5-a07b99bb3f60" providerId="ADAL" clId="{26924872-C28E-4101-B007-DD18D99DCA90}" dt="2024-09-06T10:46:09.266" v="8263" actId="14100"/>
          <ac:spMkLst>
            <pc:docMk/>
            <pc:sldMk cId="2340944189" sldId="2147375607"/>
            <ac:spMk id="11" creationId="{DE9F1BE0-7910-FA1B-DCE8-56EFD1E4FC09}"/>
          </ac:spMkLst>
        </pc:spChg>
        <pc:spChg chg="del">
          <ac:chgData name="Goel, Akanksha SBOBNG-PTIY/BFE" userId="d324206b-0bb8-422e-86a5-a07b99bb3f60" providerId="ADAL" clId="{26924872-C28E-4101-B007-DD18D99DCA90}" dt="2024-08-31T11:11:09.896" v="2920" actId="478"/>
          <ac:spMkLst>
            <pc:docMk/>
            <pc:sldMk cId="2340944189" sldId="2147375607"/>
            <ac:spMk id="12" creationId="{E53E5C3F-4D2B-B85F-E592-E58E032C664C}"/>
          </ac:spMkLst>
        </pc:spChg>
        <pc:picChg chg="add del mod">
          <ac:chgData name="Goel, Akanksha SBOBNG-PTIY/BFE" userId="d324206b-0bb8-422e-86a5-a07b99bb3f60" providerId="ADAL" clId="{26924872-C28E-4101-B007-DD18D99DCA90}" dt="2024-09-06T10:47:13.733" v="8269" actId="478"/>
          <ac:picMkLst>
            <pc:docMk/>
            <pc:sldMk cId="2340944189" sldId="2147375607"/>
            <ac:picMk id="7170" creationId="{EB498911-7A02-0AA8-0DF8-C1D72AB17548}"/>
          </ac:picMkLst>
        </pc:picChg>
        <pc:picChg chg="add mod">
          <ac:chgData name="Goel, Akanksha SBOBNG-PTIY/BFE" userId="d324206b-0bb8-422e-86a5-a07b99bb3f60" providerId="ADAL" clId="{26924872-C28E-4101-B007-DD18D99DCA90}" dt="2024-09-06T10:48:25.914" v="8277" actId="1076"/>
          <ac:picMkLst>
            <pc:docMk/>
            <pc:sldMk cId="2340944189" sldId="2147375607"/>
            <ac:picMk id="7172" creationId="{EEF962AC-781D-2D03-CAF5-CCF0DF08CE3F}"/>
          </ac:picMkLst>
        </pc:picChg>
        <pc:picChg chg="add del mod">
          <ac:chgData name="Goel, Akanksha SBOBNG-PTIY/BFE" userId="d324206b-0bb8-422e-86a5-a07b99bb3f60" providerId="ADAL" clId="{26924872-C28E-4101-B007-DD18D99DCA90}" dt="2024-08-31T11:11:04.733" v="2918" actId="478"/>
          <ac:picMkLst>
            <pc:docMk/>
            <pc:sldMk cId="2340944189" sldId="2147375607"/>
            <ac:picMk id="9218" creationId="{DBF1CDCA-D052-152B-7FCF-6F8993324AAC}"/>
          </ac:picMkLst>
        </pc:picChg>
        <pc:picChg chg="add del">
          <ac:chgData name="Goel, Akanksha SBOBNG-PTIY/BFE" userId="d324206b-0bb8-422e-86a5-a07b99bb3f60" providerId="ADAL" clId="{26924872-C28E-4101-B007-DD18D99DCA90}" dt="2024-08-31T11:10:46.957" v="2916" actId="478"/>
          <ac:picMkLst>
            <pc:docMk/>
            <pc:sldMk cId="2340944189" sldId="2147375607"/>
            <ac:picMk id="9220" creationId="{FD54CF9B-6EC4-BC3D-3DF4-B6D2C6EF6C99}"/>
          </ac:picMkLst>
        </pc:picChg>
        <pc:picChg chg="add del mod">
          <ac:chgData name="Goel, Akanksha SBOBNG-PTIY/BFE" userId="d324206b-0bb8-422e-86a5-a07b99bb3f60" providerId="ADAL" clId="{26924872-C28E-4101-B007-DD18D99DCA90}" dt="2024-09-06T10:43:07.365" v="8032" actId="478"/>
          <ac:picMkLst>
            <pc:docMk/>
            <pc:sldMk cId="2340944189" sldId="2147375607"/>
            <ac:picMk id="9222" creationId="{5478B058-BAD7-C724-1840-C65124296C7A}"/>
          </ac:picMkLst>
        </pc:picChg>
      </pc:sldChg>
      <pc:sldChg chg="del">
        <pc:chgData name="Goel, Akanksha SBOBNG-PTIY/BFE" userId="d324206b-0bb8-422e-86a5-a07b99bb3f60" providerId="ADAL" clId="{26924872-C28E-4101-B007-DD18D99DCA90}" dt="2024-08-31T11:11:39.438" v="2925" actId="2696"/>
        <pc:sldMkLst>
          <pc:docMk/>
          <pc:sldMk cId="3159148252" sldId="2147375608"/>
        </pc:sldMkLst>
      </pc:sldChg>
      <pc:sldChg chg="del">
        <pc:chgData name="Goel, Akanksha SBOBNG-PTIY/BFE" userId="d324206b-0bb8-422e-86a5-a07b99bb3f60" providerId="ADAL" clId="{26924872-C28E-4101-B007-DD18D99DCA90}" dt="2024-08-31T11:11:42.068" v="2926" actId="2696"/>
        <pc:sldMkLst>
          <pc:docMk/>
          <pc:sldMk cId="3070204084" sldId="2147375609"/>
        </pc:sldMkLst>
      </pc:sldChg>
      <pc:sldChg chg="modSp mod">
        <pc:chgData name="Goel, Akanksha SBOBNG-PTIY/BFE" userId="d324206b-0bb8-422e-86a5-a07b99bb3f60" providerId="ADAL" clId="{26924872-C28E-4101-B007-DD18D99DCA90}" dt="2024-09-06T11:01:15.673" v="9579" actId="20577"/>
        <pc:sldMkLst>
          <pc:docMk/>
          <pc:sldMk cId="3754613224" sldId="2147375611"/>
        </pc:sldMkLst>
        <pc:spChg chg="mod">
          <ac:chgData name="Goel, Akanksha SBOBNG-PTIY/BFE" userId="d324206b-0bb8-422e-86a5-a07b99bb3f60" providerId="ADAL" clId="{26924872-C28E-4101-B007-DD18D99DCA90}" dt="2024-09-06T11:00:22.994" v="9401" actId="20577"/>
          <ac:spMkLst>
            <pc:docMk/>
            <pc:sldMk cId="3754613224" sldId="2147375611"/>
            <ac:spMk id="18" creationId="{6C73795A-BE20-7075-E9C6-6F145CE60794}"/>
          </ac:spMkLst>
        </pc:spChg>
        <pc:spChg chg="mod">
          <ac:chgData name="Goel, Akanksha SBOBNG-PTIY/BFE" userId="d324206b-0bb8-422e-86a5-a07b99bb3f60" providerId="ADAL" clId="{26924872-C28E-4101-B007-DD18D99DCA90}" dt="2024-09-06T11:01:15.673" v="9579" actId="20577"/>
          <ac:spMkLst>
            <pc:docMk/>
            <pc:sldMk cId="3754613224" sldId="2147375611"/>
            <ac:spMk id="19" creationId="{A3E2F4D1-4417-E244-3DB9-A6FF5866A342}"/>
          </ac:spMkLst>
        </pc:spChg>
        <pc:spChg chg="mod">
          <ac:chgData name="Goel, Akanksha SBOBNG-PTIY/BFE" userId="d324206b-0bb8-422e-86a5-a07b99bb3f60" providerId="ADAL" clId="{26924872-C28E-4101-B007-DD18D99DCA90}" dt="2024-08-31T11:32:40.287" v="4456" actId="20577"/>
          <ac:spMkLst>
            <pc:docMk/>
            <pc:sldMk cId="3754613224" sldId="2147375611"/>
            <ac:spMk id="20" creationId="{3EBEB0AC-D407-44FD-A74F-90F67F3D13C3}"/>
          </ac:spMkLst>
        </pc:spChg>
      </pc:sldChg>
      <pc:sldChg chg="addSp delSp modSp mod">
        <pc:chgData name="Goel, Akanksha SBOBNG-PTIY/BFE" userId="d324206b-0bb8-422e-86a5-a07b99bb3f60" providerId="ADAL" clId="{26924872-C28E-4101-B007-DD18D99DCA90}" dt="2024-09-06T11:21:54.827" v="10812" actId="1076"/>
        <pc:sldMkLst>
          <pc:docMk/>
          <pc:sldMk cId="1148838763" sldId="2147375613"/>
        </pc:sldMkLst>
        <pc:spChg chg="mod">
          <ac:chgData name="Goel, Akanksha SBOBNG-PTIY/BFE" userId="d324206b-0bb8-422e-86a5-a07b99bb3f60" providerId="ADAL" clId="{26924872-C28E-4101-B007-DD18D99DCA90}" dt="2024-08-31T11:42:25.032" v="5169" actId="14100"/>
          <ac:spMkLst>
            <pc:docMk/>
            <pc:sldMk cId="1148838763" sldId="2147375613"/>
            <ac:spMk id="10" creationId="{8686D658-9330-BA20-4BC9-1E47EEC5B53D}"/>
          </ac:spMkLst>
        </pc:spChg>
        <pc:spChg chg="mod">
          <ac:chgData name="Goel, Akanksha SBOBNG-PTIY/BFE" userId="d324206b-0bb8-422e-86a5-a07b99bb3f60" providerId="ADAL" clId="{26924872-C28E-4101-B007-DD18D99DCA90}" dt="2024-09-06T11:21:37.326" v="10808" actId="14100"/>
          <ac:spMkLst>
            <pc:docMk/>
            <pc:sldMk cId="1148838763" sldId="2147375613"/>
            <ac:spMk id="11" creationId="{8CC1343B-2E39-FEFF-8FF6-46822F18B432}"/>
          </ac:spMkLst>
        </pc:spChg>
        <pc:spChg chg="del">
          <ac:chgData name="Goel, Akanksha SBOBNG-PTIY/BFE" userId="d324206b-0bb8-422e-86a5-a07b99bb3f60" providerId="ADAL" clId="{26924872-C28E-4101-B007-DD18D99DCA90}" dt="2024-08-31T11:39:54.354" v="5135" actId="478"/>
          <ac:spMkLst>
            <pc:docMk/>
            <pc:sldMk cId="1148838763" sldId="2147375613"/>
            <ac:spMk id="12" creationId="{5A873A1A-E63F-91AE-7D43-ED0F86870147}"/>
          </ac:spMkLst>
        </pc:spChg>
        <pc:picChg chg="mod">
          <ac:chgData name="Goel, Akanksha SBOBNG-PTIY/BFE" userId="d324206b-0bb8-422e-86a5-a07b99bb3f60" providerId="ADAL" clId="{26924872-C28E-4101-B007-DD18D99DCA90}" dt="2024-08-31T11:42:20.145" v="5168" actId="14100"/>
          <ac:picMkLst>
            <pc:docMk/>
            <pc:sldMk cId="1148838763" sldId="2147375613"/>
            <ac:picMk id="2" creationId="{09B39B69-AA92-EAA5-718F-24380CF24656}"/>
          </ac:picMkLst>
        </pc:picChg>
        <pc:picChg chg="add del mod modCrop">
          <ac:chgData name="Goel, Akanksha SBOBNG-PTIY/BFE" userId="d324206b-0bb8-422e-86a5-a07b99bb3f60" providerId="ADAL" clId="{26924872-C28E-4101-B007-DD18D99DCA90}" dt="2024-09-06T11:04:42.486" v="10038" actId="478"/>
          <ac:picMkLst>
            <pc:docMk/>
            <pc:sldMk cId="1148838763" sldId="2147375613"/>
            <ac:picMk id="6" creationId="{8E336FBA-A1F5-3C2F-A4C5-392679537BBD}"/>
          </ac:picMkLst>
        </pc:picChg>
        <pc:picChg chg="add mod modCrop">
          <ac:chgData name="Goel, Akanksha SBOBNG-PTIY/BFE" userId="d324206b-0bb8-422e-86a5-a07b99bb3f60" providerId="ADAL" clId="{26924872-C28E-4101-B007-DD18D99DCA90}" dt="2024-09-06T11:21:54.827" v="10812" actId="1076"/>
          <ac:picMkLst>
            <pc:docMk/>
            <pc:sldMk cId="1148838763" sldId="2147375613"/>
            <ac:picMk id="8" creationId="{52D314A5-045E-31B5-E36F-1898411F8511}"/>
          </ac:picMkLst>
        </pc:picChg>
        <pc:picChg chg="add del mod modCrop">
          <ac:chgData name="Goel, Akanksha SBOBNG-PTIY/BFE" userId="d324206b-0bb8-422e-86a5-a07b99bb3f60" providerId="ADAL" clId="{26924872-C28E-4101-B007-DD18D99DCA90}" dt="2024-09-06T11:04:44.194" v="10039" actId="478"/>
          <ac:picMkLst>
            <pc:docMk/>
            <pc:sldMk cId="1148838763" sldId="2147375613"/>
            <ac:picMk id="9" creationId="{E464F722-388F-DE5A-4687-D8F6524695E0}"/>
          </ac:picMkLst>
        </pc:picChg>
        <pc:picChg chg="add del mod">
          <ac:chgData name="Goel, Akanksha SBOBNG-PTIY/BFE" userId="d324206b-0bb8-422e-86a5-a07b99bb3f60" providerId="ADAL" clId="{26924872-C28E-4101-B007-DD18D99DCA90}" dt="2024-09-06T11:04:45.719" v="10040" actId="478"/>
          <ac:picMkLst>
            <pc:docMk/>
            <pc:sldMk cId="1148838763" sldId="2147375613"/>
            <ac:picMk id="14" creationId="{B0FA0B3B-6C8B-DAD9-BE41-C5F1C20208A9}"/>
          </ac:picMkLst>
        </pc:picChg>
      </pc:sldChg>
      <pc:sldChg chg="modSp mod">
        <pc:chgData name="Goel, Akanksha SBOBNG-PTIY/BFE" userId="d324206b-0bb8-422e-86a5-a07b99bb3f60" providerId="ADAL" clId="{26924872-C28E-4101-B007-DD18D99DCA90}" dt="2024-09-06T11:15:27.163" v="10797" actId="20577"/>
        <pc:sldMkLst>
          <pc:docMk/>
          <pc:sldMk cId="3865850111" sldId="2147375614"/>
        </pc:sldMkLst>
        <pc:spChg chg="mod">
          <ac:chgData name="Goel, Akanksha SBOBNG-PTIY/BFE" userId="d324206b-0bb8-422e-86a5-a07b99bb3f60" providerId="ADAL" clId="{26924872-C28E-4101-B007-DD18D99DCA90}" dt="2024-09-06T11:15:27.163" v="10797" actId="20577"/>
          <ac:spMkLst>
            <pc:docMk/>
            <pc:sldMk cId="3865850111" sldId="2147375614"/>
            <ac:spMk id="6" creationId="{AC2F88D2-81D4-FAD4-568E-A3F495B06411}"/>
          </ac:spMkLst>
        </pc:spChg>
      </pc:sldChg>
      <pc:sldChg chg="addSp delSp modSp add mod">
        <pc:chgData name="Goel, Akanksha SBOBNG-PTIY/BFE" userId="d324206b-0bb8-422e-86a5-a07b99bb3f60" providerId="ADAL" clId="{26924872-C28E-4101-B007-DD18D99DCA90}" dt="2024-09-06T10:12:44.867" v="7399" actId="1076"/>
        <pc:sldMkLst>
          <pc:docMk/>
          <pc:sldMk cId="1821693212" sldId="2147375615"/>
        </pc:sldMkLst>
        <pc:spChg chg="mod">
          <ac:chgData name="Goel, Akanksha SBOBNG-PTIY/BFE" userId="d324206b-0bb8-422e-86a5-a07b99bb3f60" providerId="ADAL" clId="{26924872-C28E-4101-B007-DD18D99DCA90}" dt="2024-08-31T08:00:11.426" v="1267" actId="1076"/>
          <ac:spMkLst>
            <pc:docMk/>
            <pc:sldMk cId="1821693212" sldId="2147375615"/>
            <ac:spMk id="3" creationId="{CEA128C4-A0BC-A895-713C-306E7FF62894}"/>
          </ac:spMkLst>
        </pc:spChg>
        <pc:spChg chg="mod">
          <ac:chgData name="Goel, Akanksha SBOBNG-PTIY/BFE" userId="d324206b-0bb8-422e-86a5-a07b99bb3f60" providerId="ADAL" clId="{26924872-C28E-4101-B007-DD18D99DCA90}" dt="2024-09-06T10:10:10.795" v="7354" actId="20577"/>
          <ac:spMkLst>
            <pc:docMk/>
            <pc:sldMk cId="1821693212" sldId="2147375615"/>
            <ac:spMk id="11" creationId="{DE9F1BE0-7910-FA1B-DCE8-56EFD1E4FC09}"/>
          </ac:spMkLst>
        </pc:spChg>
        <pc:spChg chg="del mod">
          <ac:chgData name="Goel, Akanksha SBOBNG-PTIY/BFE" userId="d324206b-0bb8-422e-86a5-a07b99bb3f60" providerId="ADAL" clId="{26924872-C28E-4101-B007-DD18D99DCA90}" dt="2024-09-06T10:10:29.011" v="7356" actId="478"/>
          <ac:spMkLst>
            <pc:docMk/>
            <pc:sldMk cId="1821693212" sldId="2147375615"/>
            <ac:spMk id="12" creationId="{E53E5C3F-4D2B-B85F-E592-E58E032C664C}"/>
          </ac:spMkLst>
        </pc:spChg>
        <pc:picChg chg="add del mod">
          <ac:chgData name="Goel, Akanksha SBOBNG-PTIY/BFE" userId="d324206b-0bb8-422e-86a5-a07b99bb3f60" providerId="ADAL" clId="{26924872-C28E-4101-B007-DD18D99DCA90}" dt="2024-09-06T10:12:14.571" v="7396" actId="478"/>
          <ac:picMkLst>
            <pc:docMk/>
            <pc:sldMk cId="1821693212" sldId="2147375615"/>
            <ac:picMk id="2050" creationId="{40BB5477-5A8A-D25B-F507-AD2B706E40D4}"/>
          </ac:picMkLst>
        </pc:picChg>
        <pc:picChg chg="add mod">
          <ac:chgData name="Goel, Akanksha SBOBNG-PTIY/BFE" userId="d324206b-0bb8-422e-86a5-a07b99bb3f60" providerId="ADAL" clId="{26924872-C28E-4101-B007-DD18D99DCA90}" dt="2024-09-06T10:12:44.867" v="7399" actId="1076"/>
          <ac:picMkLst>
            <pc:docMk/>
            <pc:sldMk cId="1821693212" sldId="2147375615"/>
            <ac:picMk id="2052" creationId="{A0D841E6-3C43-302A-DD84-F478DE2CCAA6}"/>
          </ac:picMkLst>
        </pc:picChg>
        <pc:picChg chg="add del mod">
          <ac:chgData name="Goel, Akanksha SBOBNG-PTIY/BFE" userId="d324206b-0bb8-422e-86a5-a07b99bb3f60" providerId="ADAL" clId="{26924872-C28E-4101-B007-DD18D99DCA90}" dt="2024-09-06T10:10:25.986" v="7355" actId="478"/>
          <ac:picMkLst>
            <pc:docMk/>
            <pc:sldMk cId="1821693212" sldId="2147375615"/>
            <ac:picMk id="4098" creationId="{02F0861F-52B2-6A3B-04ED-02A876987C9F}"/>
          </ac:picMkLst>
        </pc:picChg>
      </pc:sldChg>
      <pc:sldChg chg="addSp delSp modSp add mod">
        <pc:chgData name="Goel, Akanksha SBOBNG-PTIY/BFE" userId="d324206b-0bb8-422e-86a5-a07b99bb3f60" providerId="ADAL" clId="{26924872-C28E-4101-B007-DD18D99DCA90}" dt="2024-09-06T10:22:07.348" v="7690" actId="1076"/>
        <pc:sldMkLst>
          <pc:docMk/>
          <pc:sldMk cId="2610238903" sldId="2147375616"/>
        </pc:sldMkLst>
        <pc:spChg chg="mod">
          <ac:chgData name="Goel, Akanksha SBOBNG-PTIY/BFE" userId="d324206b-0bb8-422e-86a5-a07b99bb3f60" providerId="ADAL" clId="{26924872-C28E-4101-B007-DD18D99DCA90}" dt="2024-08-31T07:04:09.149" v="503" actId="20577"/>
          <ac:spMkLst>
            <pc:docMk/>
            <pc:sldMk cId="2610238903" sldId="2147375616"/>
            <ac:spMk id="3" creationId="{CEA128C4-A0BC-A895-713C-306E7FF62894}"/>
          </ac:spMkLst>
        </pc:spChg>
        <pc:spChg chg="mod">
          <ac:chgData name="Goel, Akanksha SBOBNG-PTIY/BFE" userId="d324206b-0bb8-422e-86a5-a07b99bb3f60" providerId="ADAL" clId="{26924872-C28E-4101-B007-DD18D99DCA90}" dt="2024-09-06T10:21:12.861" v="7684" actId="14100"/>
          <ac:spMkLst>
            <pc:docMk/>
            <pc:sldMk cId="2610238903" sldId="2147375616"/>
            <ac:spMk id="11" creationId="{DE9F1BE0-7910-FA1B-DCE8-56EFD1E4FC09}"/>
          </ac:spMkLst>
        </pc:spChg>
        <pc:spChg chg="del">
          <ac:chgData name="Goel, Akanksha SBOBNG-PTIY/BFE" userId="d324206b-0bb8-422e-86a5-a07b99bb3f60" providerId="ADAL" clId="{26924872-C28E-4101-B007-DD18D99DCA90}" dt="2024-09-06T10:20:27.151" v="7680" actId="478"/>
          <ac:spMkLst>
            <pc:docMk/>
            <pc:sldMk cId="2610238903" sldId="2147375616"/>
            <ac:spMk id="12" creationId="{E53E5C3F-4D2B-B85F-E592-E58E032C664C}"/>
          </ac:spMkLst>
        </pc:spChg>
        <pc:picChg chg="add del mod">
          <ac:chgData name="Goel, Akanksha SBOBNG-PTIY/BFE" userId="d324206b-0bb8-422e-86a5-a07b99bb3f60" providerId="ADAL" clId="{26924872-C28E-4101-B007-DD18D99DCA90}" dt="2024-09-06T10:22:00.305" v="7686" actId="478"/>
          <ac:picMkLst>
            <pc:docMk/>
            <pc:sldMk cId="2610238903" sldId="2147375616"/>
            <ac:picMk id="3074" creationId="{B752DC33-08F7-55ED-0773-F0539347412C}"/>
          </ac:picMkLst>
        </pc:picChg>
        <pc:picChg chg="add mod">
          <ac:chgData name="Goel, Akanksha SBOBNG-PTIY/BFE" userId="d324206b-0bb8-422e-86a5-a07b99bb3f60" providerId="ADAL" clId="{26924872-C28E-4101-B007-DD18D99DCA90}" dt="2024-09-06T10:22:07.348" v="7690" actId="1076"/>
          <ac:picMkLst>
            <pc:docMk/>
            <pc:sldMk cId="2610238903" sldId="2147375616"/>
            <ac:picMk id="3076" creationId="{600A7D42-C374-FE8E-0EF0-77FFFB10474A}"/>
          </ac:picMkLst>
        </pc:picChg>
        <pc:picChg chg="add del mod">
          <ac:chgData name="Goel, Akanksha SBOBNG-PTIY/BFE" userId="d324206b-0bb8-422e-86a5-a07b99bb3f60" providerId="ADAL" clId="{26924872-C28E-4101-B007-DD18D99DCA90}" dt="2024-09-06T10:20:24.350" v="7679" actId="478"/>
          <ac:picMkLst>
            <pc:docMk/>
            <pc:sldMk cId="2610238903" sldId="2147375616"/>
            <ac:picMk id="5122" creationId="{497CC6B1-A43B-FE3E-ED0B-DD3CD79A74D2}"/>
          </ac:picMkLst>
        </pc:picChg>
      </pc:sldChg>
      <pc:sldChg chg="addSp delSp modSp add mod">
        <pc:chgData name="Goel, Akanksha SBOBNG-PTIY/BFE" userId="d324206b-0bb8-422e-86a5-a07b99bb3f60" providerId="ADAL" clId="{26924872-C28E-4101-B007-DD18D99DCA90}" dt="2024-09-06T10:34:08.706" v="7800" actId="14100"/>
        <pc:sldMkLst>
          <pc:docMk/>
          <pc:sldMk cId="1936075612" sldId="2147375617"/>
        </pc:sldMkLst>
        <pc:spChg chg="mod">
          <ac:chgData name="Goel, Akanksha SBOBNG-PTIY/BFE" userId="d324206b-0bb8-422e-86a5-a07b99bb3f60" providerId="ADAL" clId="{26924872-C28E-4101-B007-DD18D99DCA90}" dt="2024-08-31T08:19:37.397" v="2203" actId="20577"/>
          <ac:spMkLst>
            <pc:docMk/>
            <pc:sldMk cId="1936075612" sldId="2147375617"/>
            <ac:spMk id="3" creationId="{CEA128C4-A0BC-A895-713C-306E7FF62894}"/>
          </ac:spMkLst>
        </pc:spChg>
        <pc:spChg chg="mod">
          <ac:chgData name="Goel, Akanksha SBOBNG-PTIY/BFE" userId="d324206b-0bb8-422e-86a5-a07b99bb3f60" providerId="ADAL" clId="{26924872-C28E-4101-B007-DD18D99DCA90}" dt="2024-09-06T10:30:11.981" v="7790" actId="20577"/>
          <ac:spMkLst>
            <pc:docMk/>
            <pc:sldMk cId="1936075612" sldId="2147375617"/>
            <ac:spMk id="11" creationId="{DE9F1BE0-7910-FA1B-DCE8-56EFD1E4FC09}"/>
          </ac:spMkLst>
        </pc:spChg>
        <pc:picChg chg="add mod">
          <ac:chgData name="Goel, Akanksha SBOBNG-PTIY/BFE" userId="d324206b-0bb8-422e-86a5-a07b99bb3f60" providerId="ADAL" clId="{26924872-C28E-4101-B007-DD18D99DCA90}" dt="2024-09-06T10:34:08.706" v="7800" actId="14100"/>
          <ac:picMkLst>
            <pc:docMk/>
            <pc:sldMk cId="1936075612" sldId="2147375617"/>
            <ac:picMk id="5122" creationId="{BDFF9B67-618B-81F3-981C-9182EEA0ABA3}"/>
          </ac:picMkLst>
        </pc:picChg>
        <pc:picChg chg="del">
          <ac:chgData name="Goel, Akanksha SBOBNG-PTIY/BFE" userId="d324206b-0bb8-422e-86a5-a07b99bb3f60" providerId="ADAL" clId="{26924872-C28E-4101-B007-DD18D99DCA90}" dt="2024-08-31T08:23:21.259" v="2330" actId="478"/>
          <ac:picMkLst>
            <pc:docMk/>
            <pc:sldMk cId="1936075612" sldId="2147375617"/>
            <ac:picMk id="6146" creationId="{808A51EE-7268-AAF1-7963-2CAF7933130E}"/>
          </ac:picMkLst>
        </pc:picChg>
        <pc:picChg chg="add del mod">
          <ac:chgData name="Goel, Akanksha SBOBNG-PTIY/BFE" userId="d324206b-0bb8-422e-86a5-a07b99bb3f60" providerId="ADAL" clId="{26924872-C28E-4101-B007-DD18D99DCA90}" dt="2024-09-06T10:33:24.117" v="7791" actId="478"/>
          <ac:picMkLst>
            <pc:docMk/>
            <pc:sldMk cId="1936075612" sldId="2147375617"/>
            <ac:picMk id="7170" creationId="{FA1A12AE-4283-D084-5BF0-985227BBF76B}"/>
          </ac:picMkLst>
        </pc:picChg>
      </pc:sldChg>
      <pc:sldChg chg="addSp delSp modSp add mod">
        <pc:chgData name="Goel, Akanksha SBOBNG-PTIY/BFE" userId="d324206b-0bb8-422e-86a5-a07b99bb3f60" providerId="ADAL" clId="{26924872-C28E-4101-B007-DD18D99DCA90}" dt="2024-09-06T10:38:18.466" v="7866" actId="14100"/>
        <pc:sldMkLst>
          <pc:docMk/>
          <pc:sldMk cId="2869202782" sldId="2147375618"/>
        </pc:sldMkLst>
        <pc:spChg chg="mod">
          <ac:chgData name="Goel, Akanksha SBOBNG-PTIY/BFE" userId="d324206b-0bb8-422e-86a5-a07b99bb3f60" providerId="ADAL" clId="{26924872-C28E-4101-B007-DD18D99DCA90}" dt="2024-08-31T08:30:25.336" v="2522" actId="20577"/>
          <ac:spMkLst>
            <pc:docMk/>
            <pc:sldMk cId="2869202782" sldId="2147375618"/>
            <ac:spMk id="3" creationId="{CEA128C4-A0BC-A895-713C-306E7FF62894}"/>
          </ac:spMkLst>
        </pc:spChg>
        <pc:spChg chg="mod">
          <ac:chgData name="Goel, Akanksha SBOBNG-PTIY/BFE" userId="d324206b-0bb8-422e-86a5-a07b99bb3f60" providerId="ADAL" clId="{26924872-C28E-4101-B007-DD18D99DCA90}" dt="2024-09-06T10:36:29.714" v="7860" actId="20577"/>
          <ac:spMkLst>
            <pc:docMk/>
            <pc:sldMk cId="2869202782" sldId="2147375618"/>
            <ac:spMk id="11" creationId="{DE9F1BE0-7910-FA1B-DCE8-56EFD1E4FC09}"/>
          </ac:spMkLst>
        </pc:spChg>
        <pc:picChg chg="del">
          <ac:chgData name="Goel, Akanksha SBOBNG-PTIY/BFE" userId="d324206b-0bb8-422e-86a5-a07b99bb3f60" providerId="ADAL" clId="{26924872-C28E-4101-B007-DD18D99DCA90}" dt="2024-08-31T08:26:06.719" v="2342" actId="478"/>
          <ac:picMkLst>
            <pc:docMk/>
            <pc:sldMk cId="2869202782" sldId="2147375618"/>
            <ac:picMk id="6146" creationId="{808A51EE-7268-AAF1-7963-2CAF7933130E}"/>
          </ac:picMkLst>
        </pc:picChg>
        <pc:picChg chg="add mod">
          <ac:chgData name="Goel, Akanksha SBOBNG-PTIY/BFE" userId="d324206b-0bb8-422e-86a5-a07b99bb3f60" providerId="ADAL" clId="{26924872-C28E-4101-B007-DD18D99DCA90}" dt="2024-09-06T10:38:18.466" v="7866" actId="14100"/>
          <ac:picMkLst>
            <pc:docMk/>
            <pc:sldMk cId="2869202782" sldId="2147375618"/>
            <ac:picMk id="6146" creationId="{D0EA7789-1ADB-FFDC-52C0-CF9DD3ABC2B6}"/>
          </ac:picMkLst>
        </pc:picChg>
        <pc:picChg chg="add del">
          <ac:chgData name="Goel, Akanksha SBOBNG-PTIY/BFE" userId="d324206b-0bb8-422e-86a5-a07b99bb3f60" providerId="ADAL" clId="{26924872-C28E-4101-B007-DD18D99DCA90}" dt="2024-08-31T08:26:06.719" v="2342" actId="478"/>
          <ac:picMkLst>
            <pc:docMk/>
            <pc:sldMk cId="2869202782" sldId="2147375618"/>
            <ac:picMk id="8194" creationId="{E910A98C-F657-D816-CA8C-914D0D24D341}"/>
          </ac:picMkLst>
        </pc:picChg>
        <pc:picChg chg="add del mod">
          <ac:chgData name="Goel, Akanksha SBOBNG-PTIY/BFE" userId="d324206b-0bb8-422e-86a5-a07b99bb3f60" providerId="ADAL" clId="{26924872-C28E-4101-B007-DD18D99DCA90}" dt="2024-09-06T10:36:31.856" v="7861" actId="478"/>
          <ac:picMkLst>
            <pc:docMk/>
            <pc:sldMk cId="2869202782" sldId="2147375618"/>
            <ac:picMk id="8196" creationId="{886B56EC-23F3-634B-3611-23B1BAD6C194}"/>
          </ac:picMkLst>
        </pc:picChg>
      </pc:sldChg>
      <pc:sldChg chg="addSp delSp modSp add mod">
        <pc:chgData name="Goel, Akanksha SBOBNG-PTIY/BFE" userId="d324206b-0bb8-422e-86a5-a07b99bb3f60" providerId="ADAL" clId="{26924872-C28E-4101-B007-DD18D99DCA90}" dt="2024-09-06T10:53:40.974" v="8761" actId="1076"/>
        <pc:sldMkLst>
          <pc:docMk/>
          <pc:sldMk cId="1570854943" sldId="2147375619"/>
        </pc:sldMkLst>
        <pc:spChg chg="mod">
          <ac:chgData name="Goel, Akanksha SBOBNG-PTIY/BFE" userId="d324206b-0bb8-422e-86a5-a07b99bb3f60" providerId="ADAL" clId="{26924872-C28E-4101-B007-DD18D99DCA90}" dt="2024-08-31T11:13:11.163" v="2928" actId="20577"/>
          <ac:spMkLst>
            <pc:docMk/>
            <pc:sldMk cId="1570854943" sldId="2147375619"/>
            <ac:spMk id="3" creationId="{CEA128C4-A0BC-A895-713C-306E7FF62894}"/>
          </ac:spMkLst>
        </pc:spChg>
        <pc:spChg chg="mod">
          <ac:chgData name="Goel, Akanksha SBOBNG-PTIY/BFE" userId="d324206b-0bb8-422e-86a5-a07b99bb3f60" providerId="ADAL" clId="{26924872-C28E-4101-B007-DD18D99DCA90}" dt="2024-09-06T10:52:16.912" v="8755" actId="20577"/>
          <ac:spMkLst>
            <pc:docMk/>
            <pc:sldMk cId="1570854943" sldId="2147375619"/>
            <ac:spMk id="11" creationId="{DE9F1BE0-7910-FA1B-DCE8-56EFD1E4FC09}"/>
          </ac:spMkLst>
        </pc:spChg>
        <pc:picChg chg="add mod">
          <ac:chgData name="Goel, Akanksha SBOBNG-PTIY/BFE" userId="d324206b-0bb8-422e-86a5-a07b99bb3f60" providerId="ADAL" clId="{26924872-C28E-4101-B007-DD18D99DCA90}" dt="2024-09-06T10:53:40.974" v="8761" actId="1076"/>
          <ac:picMkLst>
            <pc:docMk/>
            <pc:sldMk cId="1570854943" sldId="2147375619"/>
            <ac:picMk id="8194" creationId="{5FA7E812-70DD-6C3E-2C07-BECAA51B40AB}"/>
          </ac:picMkLst>
        </pc:picChg>
        <pc:picChg chg="del">
          <ac:chgData name="Goel, Akanksha SBOBNG-PTIY/BFE" userId="d324206b-0bb8-422e-86a5-a07b99bb3f60" providerId="ADAL" clId="{26924872-C28E-4101-B007-DD18D99DCA90}" dt="2024-08-31T11:18:47.214" v="3509" actId="478"/>
          <ac:picMkLst>
            <pc:docMk/>
            <pc:sldMk cId="1570854943" sldId="2147375619"/>
            <ac:picMk id="9222" creationId="{5478B058-BAD7-C724-1840-C65124296C7A}"/>
          </ac:picMkLst>
        </pc:picChg>
        <pc:picChg chg="add del mod">
          <ac:chgData name="Goel, Akanksha SBOBNG-PTIY/BFE" userId="d324206b-0bb8-422e-86a5-a07b99bb3f60" providerId="ADAL" clId="{26924872-C28E-4101-B007-DD18D99DCA90}" dt="2024-09-06T10:52:20.448" v="8756" actId="478"/>
          <ac:picMkLst>
            <pc:docMk/>
            <pc:sldMk cId="1570854943" sldId="2147375619"/>
            <ac:picMk id="10242" creationId="{F377426F-8C87-638A-7C8D-373DE5C920F7}"/>
          </ac:picMkLst>
        </pc:picChg>
      </pc:sldChg>
      <pc:sldChg chg="addSp delSp modSp add mod">
        <pc:chgData name="Goel, Akanksha SBOBNG-PTIY/BFE" userId="d324206b-0bb8-422e-86a5-a07b99bb3f60" providerId="ADAL" clId="{26924872-C28E-4101-B007-DD18D99DCA90}" dt="2024-09-06T10:58:33.437" v="9126" actId="14100"/>
        <pc:sldMkLst>
          <pc:docMk/>
          <pc:sldMk cId="1233682144" sldId="2147375620"/>
        </pc:sldMkLst>
        <pc:spChg chg="mod">
          <ac:chgData name="Goel, Akanksha SBOBNG-PTIY/BFE" userId="d324206b-0bb8-422e-86a5-a07b99bb3f60" providerId="ADAL" clId="{26924872-C28E-4101-B007-DD18D99DCA90}" dt="2024-08-31T11:20:40.406" v="3515" actId="20577"/>
          <ac:spMkLst>
            <pc:docMk/>
            <pc:sldMk cId="1233682144" sldId="2147375620"/>
            <ac:spMk id="3" creationId="{CEA128C4-A0BC-A895-713C-306E7FF62894}"/>
          </ac:spMkLst>
        </pc:spChg>
        <pc:spChg chg="mod">
          <ac:chgData name="Goel, Akanksha SBOBNG-PTIY/BFE" userId="d324206b-0bb8-422e-86a5-a07b99bb3f60" providerId="ADAL" clId="{26924872-C28E-4101-B007-DD18D99DCA90}" dt="2024-09-06T10:57:32.938" v="9119" actId="20577"/>
          <ac:spMkLst>
            <pc:docMk/>
            <pc:sldMk cId="1233682144" sldId="2147375620"/>
            <ac:spMk id="11" creationId="{DE9F1BE0-7910-FA1B-DCE8-56EFD1E4FC09}"/>
          </ac:spMkLst>
        </pc:spChg>
        <pc:picChg chg="add mod">
          <ac:chgData name="Goel, Akanksha SBOBNG-PTIY/BFE" userId="d324206b-0bb8-422e-86a5-a07b99bb3f60" providerId="ADAL" clId="{26924872-C28E-4101-B007-DD18D99DCA90}" dt="2024-09-06T10:58:33.437" v="9126" actId="14100"/>
          <ac:picMkLst>
            <pc:docMk/>
            <pc:sldMk cId="1233682144" sldId="2147375620"/>
            <ac:picMk id="9218" creationId="{5AA05C8C-5E43-5B28-A3E2-1AB48AABEAD7}"/>
          </ac:picMkLst>
        </pc:picChg>
        <pc:picChg chg="del">
          <ac:chgData name="Goel, Akanksha SBOBNG-PTIY/BFE" userId="d324206b-0bb8-422e-86a5-a07b99bb3f60" providerId="ADAL" clId="{26924872-C28E-4101-B007-DD18D99DCA90}" dt="2024-08-31T11:23:08.986" v="3862" actId="478"/>
          <ac:picMkLst>
            <pc:docMk/>
            <pc:sldMk cId="1233682144" sldId="2147375620"/>
            <ac:picMk id="9222" creationId="{5478B058-BAD7-C724-1840-C65124296C7A}"/>
          </ac:picMkLst>
        </pc:picChg>
        <pc:picChg chg="add del mod">
          <ac:chgData name="Goel, Akanksha SBOBNG-PTIY/BFE" userId="d324206b-0bb8-422e-86a5-a07b99bb3f60" providerId="ADAL" clId="{26924872-C28E-4101-B007-DD18D99DCA90}" dt="2024-09-06T10:57:35.325" v="9120" actId="478"/>
          <ac:picMkLst>
            <pc:docMk/>
            <pc:sldMk cId="1233682144" sldId="2147375620"/>
            <ac:picMk id="11266" creationId="{CE7EF8A1-5705-1605-8535-212079FE661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kanksha Goe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9-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PostgreSQL &amp; CI/CD</a:t>
            </a:r>
          </a:p>
          <a:p>
            <a:pPr marL="0" indent="0">
              <a:buNone/>
            </a:pPr>
            <a:r>
              <a:rPr lang="en-US" sz="2000" dirty="0"/>
              <a:t>How I feel Shell implements this learning</a:t>
            </a:r>
          </a:p>
          <a:p>
            <a:pPr marL="0" indent="0">
              <a:buNone/>
            </a:pPr>
            <a:r>
              <a:rPr lang="en-US" b="0" i="0" dirty="0">
                <a:solidFill>
                  <a:srgbClr val="111111"/>
                </a:solidFill>
                <a:effectLst/>
                <a:latin typeface="-apple-system"/>
              </a:rPr>
              <a:t>CRUD operations, along with DDL, DML, and DQL, are employed to handle data effectively. Queries are created to retrieve and manipulate data as needed. Shell integrates PostgreSQL with other systems using API protocols and Maven for dependency management. GitHub Actions and YAML files are used to set up CI/CD pipelines, automating testing and deployment processes.</a:t>
            </a:r>
          </a:p>
          <a:p>
            <a:pPr marL="0" indent="0">
              <a:buNone/>
            </a:pPr>
            <a:endParaRPr lang="en-US" sz="2000" dirty="0"/>
          </a:p>
          <a:p>
            <a:pPr marL="0" indent="0">
              <a:buNone/>
            </a:pPr>
            <a:r>
              <a:rPr lang="en-US" sz="2000" dirty="0"/>
              <a:t>How I feel Shell benefits from this learning</a:t>
            </a:r>
          </a:p>
          <a:p>
            <a:pPr marL="0" indent="0">
              <a:buNone/>
            </a:pPr>
            <a:r>
              <a:rPr lang="en-US" b="0" i="0" dirty="0">
                <a:solidFill>
                  <a:srgbClr val="111111"/>
                </a:solidFill>
                <a:effectLst/>
                <a:latin typeface="-apple-system"/>
              </a:rPr>
              <a:t>By using PostgreSQL, Shell can efficiently store and manage vast amounts of energy data, enabling detailed analytics and reporting. Implementing CI/CD pipelines with GitHub Actions ensures that updates to energy management systems are automatically tested and deployed, reducing downtime and improving system reliability. This automation enhances operational efficiency and ensures continuous delivery of high-quality software solutions.</a:t>
            </a:r>
            <a:endParaRPr lang="en-US" dirty="0">
              <a:solidFill>
                <a:srgbClr val="111111"/>
              </a:solidFill>
              <a:latin typeface="-apple-system"/>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CI/CD Pipeline: Definition, Overview &amp; Elements">
            <a:extLst>
              <a:ext uri="{FF2B5EF4-FFF2-40B4-BE49-F238E27FC236}">
                <a16:creationId xmlns:a16="http://schemas.microsoft.com/office/drawing/2014/main" id="{D0EA7789-1ADB-FFDC-52C0-CF9DD3ABC2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51069" y="1820863"/>
            <a:ext cx="5682114" cy="346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92027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294298"/>
            <a:ext cx="6343617" cy="4642937"/>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r>
              <a:rPr lang="en-US" sz="2000" b="1" u="sng" dirty="0" err="1"/>
              <a:t>AzureVM</a:t>
            </a:r>
            <a:r>
              <a:rPr lang="en-US" sz="2000" b="1" u="sng" dirty="0"/>
              <a:t> &amp;Azure DevOps</a:t>
            </a:r>
          </a:p>
          <a:p>
            <a:pPr marL="0" indent="0">
              <a:buNone/>
            </a:pPr>
            <a:r>
              <a:rPr lang="en-US" sz="2000" dirty="0"/>
              <a:t>Challenges Faced:</a:t>
            </a:r>
          </a:p>
          <a:p>
            <a:r>
              <a:rPr lang="en-US" sz="2400" b="0" i="0" dirty="0">
                <a:solidFill>
                  <a:srgbClr val="111111"/>
                </a:solidFill>
                <a:effectLst/>
                <a:latin typeface="-apple-system"/>
              </a:rPr>
              <a:t>Ensuring that user stories are well-defined, and tasks are clearly outlined </a:t>
            </a:r>
          </a:p>
          <a:p>
            <a:r>
              <a:rPr lang="en-US" sz="2400" dirty="0">
                <a:solidFill>
                  <a:srgbClr val="111111"/>
                </a:solidFill>
                <a:latin typeface="-apple-system"/>
              </a:rPr>
              <a:t>Deciding the Story Points &amp; Priority</a:t>
            </a:r>
          </a:p>
          <a:p>
            <a:r>
              <a:rPr lang="en-US" sz="2400" b="0" i="0" dirty="0">
                <a:solidFill>
                  <a:srgbClr val="111111"/>
                </a:solidFill>
                <a:effectLst/>
                <a:latin typeface="-apple-system"/>
              </a:rPr>
              <a:t>Configuring VMs to meet specific requirements and ensuring they are secure can be complex.</a:t>
            </a:r>
            <a:endParaRPr lang="en-US" sz="2000" dirty="0"/>
          </a:p>
          <a:p>
            <a:pPr marL="0" indent="0">
              <a:buNone/>
            </a:pPr>
            <a:r>
              <a:rPr lang="en-US" sz="2000" dirty="0"/>
              <a:t>Plans to Overcome:</a:t>
            </a:r>
          </a:p>
          <a:p>
            <a:pPr>
              <a:buFont typeface="Wingdings" panose="05000000000000000000" pitchFamily="2" charset="2"/>
              <a:buChar char="q"/>
            </a:pPr>
            <a:r>
              <a:rPr lang="en-US" sz="2000" dirty="0"/>
              <a:t>Practice Creation of Sprint Backlog</a:t>
            </a:r>
          </a:p>
          <a:p>
            <a:pPr>
              <a:buFont typeface="Wingdings" panose="05000000000000000000" pitchFamily="2" charset="2"/>
              <a:buChar char="q"/>
            </a:pPr>
            <a:r>
              <a:rPr lang="en-US" sz="2000" dirty="0"/>
              <a:t>Develop a deeper understanding of functioning of VMs</a:t>
            </a:r>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2" name="Picture 4" descr="Scrum Sprint Meeting Template • Invitation Template Ideas">
            <a:extLst>
              <a:ext uri="{FF2B5EF4-FFF2-40B4-BE49-F238E27FC236}">
                <a16:creationId xmlns:a16="http://schemas.microsoft.com/office/drawing/2014/main" id="{EEF962AC-781D-2D03-CAF5-CCF0DF08CE3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3022" r="12125"/>
          <a:stretch/>
        </p:blipFill>
        <p:spPr bwMode="auto">
          <a:xfrm>
            <a:off x="7006935" y="1670620"/>
            <a:ext cx="5082363" cy="43211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501879"/>
            <a:ext cx="5653806" cy="4435355"/>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b="1" u="sng" dirty="0"/>
          </a:p>
          <a:p>
            <a:pPr marL="0" indent="0">
              <a:buNone/>
            </a:pPr>
            <a:r>
              <a:rPr lang="en-US" sz="2000" b="1" u="sng" dirty="0"/>
              <a:t>Testing &amp; STLC</a:t>
            </a:r>
          </a:p>
          <a:p>
            <a:pPr marL="0" indent="0">
              <a:buNone/>
            </a:pPr>
            <a:r>
              <a:rPr lang="en-US" sz="2000" dirty="0"/>
              <a:t>Challenges Faced:</a:t>
            </a:r>
          </a:p>
          <a:p>
            <a:r>
              <a:rPr lang="en-US" sz="2400" b="0" i="0" dirty="0">
                <a:solidFill>
                  <a:srgbClr val="111111"/>
                </a:solidFill>
                <a:effectLst/>
                <a:latin typeface="-apple-system"/>
              </a:rPr>
              <a:t>Ensuring thorough testing at each level without redundancy.</a:t>
            </a:r>
            <a:endParaRPr lang="en-US" sz="2000" dirty="0"/>
          </a:p>
          <a:p>
            <a:r>
              <a:rPr lang="en-US" sz="2000" dirty="0"/>
              <a:t>Writing detailed &amp; Specific Test Cases</a:t>
            </a:r>
          </a:p>
          <a:p>
            <a:r>
              <a:rPr lang="en-US" sz="2400" b="0" i="0" dirty="0">
                <a:solidFill>
                  <a:srgbClr val="111111"/>
                </a:solidFill>
                <a:effectLst/>
                <a:latin typeface="-apple-system"/>
              </a:rPr>
              <a:t>Managing and tracking defects</a:t>
            </a:r>
            <a:endParaRPr lang="en-US" sz="2000" dirty="0"/>
          </a:p>
          <a:p>
            <a:pPr marL="0" indent="0">
              <a:buNone/>
            </a:pPr>
            <a:endParaRPr lang="en-US" sz="2000" dirty="0"/>
          </a:p>
          <a:p>
            <a:pPr marL="0" indent="0">
              <a:buNone/>
            </a:pPr>
            <a:r>
              <a:rPr lang="en-US" sz="2000" dirty="0"/>
              <a:t>Plans to Overcome:</a:t>
            </a:r>
          </a:p>
          <a:p>
            <a:pPr>
              <a:buFont typeface="Wingdings" panose="05000000000000000000" pitchFamily="2" charset="2"/>
              <a:buChar char="q"/>
            </a:pPr>
            <a:r>
              <a:rPr lang="en-US" sz="2000" dirty="0"/>
              <a:t>Use RTM to ensure all use cases are covered by the test cases</a:t>
            </a:r>
          </a:p>
          <a:p>
            <a:pPr>
              <a:buFont typeface="Wingdings" panose="05000000000000000000" pitchFamily="2" charset="2"/>
              <a:buChar char="q"/>
            </a:pPr>
            <a:r>
              <a:rPr lang="en-US" sz="2000" dirty="0"/>
              <a:t>Proper Documentation of bugs</a:t>
            </a:r>
          </a:p>
          <a:p>
            <a:pPr>
              <a:buFont typeface="Wingdings" panose="05000000000000000000" pitchFamily="2" charset="2"/>
              <a:buChar char="q"/>
            </a:pP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Software Testing: Bug Life Cycle-Definitions and different Severities ...">
            <a:extLst>
              <a:ext uri="{FF2B5EF4-FFF2-40B4-BE49-F238E27FC236}">
                <a16:creationId xmlns:a16="http://schemas.microsoft.com/office/drawing/2014/main" id="{5FA7E812-70DD-6C3E-2C07-BECAA51B40A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21727"/>
          <a:stretch/>
        </p:blipFill>
        <p:spPr bwMode="auto">
          <a:xfrm>
            <a:off x="6471840" y="1446796"/>
            <a:ext cx="4155306" cy="4545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0854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764318" y="1637427"/>
            <a:ext cx="5653806" cy="4291735"/>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b="1" u="sng" dirty="0"/>
          </a:p>
          <a:p>
            <a:pPr marL="0" indent="0">
              <a:buNone/>
            </a:pPr>
            <a:r>
              <a:rPr lang="en-US" sz="2000" b="1" u="sng" dirty="0"/>
              <a:t>PostgreSQL&amp; CI/CD</a:t>
            </a:r>
          </a:p>
          <a:p>
            <a:pPr marL="0" indent="0">
              <a:buNone/>
            </a:pPr>
            <a:r>
              <a:rPr lang="en-US" sz="2000" dirty="0"/>
              <a:t>Challenges Faced:</a:t>
            </a:r>
          </a:p>
          <a:p>
            <a:r>
              <a:rPr lang="en-US" sz="2000" dirty="0"/>
              <a:t>Ensuring efficient CRUD operations</a:t>
            </a:r>
          </a:p>
          <a:p>
            <a:r>
              <a:rPr lang="en-US" sz="2400" b="0" i="0" dirty="0">
                <a:solidFill>
                  <a:srgbClr val="111111"/>
                </a:solidFill>
                <a:effectLst/>
                <a:latin typeface="-apple-system"/>
              </a:rPr>
              <a:t>Setting up and maintaining CI/CD</a:t>
            </a:r>
            <a:endParaRPr lang="en-US" sz="2000" b="0" i="0" dirty="0">
              <a:solidFill>
                <a:srgbClr val="111111"/>
              </a:solidFill>
              <a:effectLst/>
              <a:latin typeface="-apple-system"/>
            </a:endParaRPr>
          </a:p>
          <a:p>
            <a:pPr marL="0" indent="0">
              <a:buNone/>
            </a:pPr>
            <a:r>
              <a:rPr lang="en-US" sz="2000" dirty="0"/>
              <a:t>Plans to Overcome:</a:t>
            </a:r>
          </a:p>
          <a:p>
            <a:pPr>
              <a:buFont typeface="Wingdings" panose="05000000000000000000" pitchFamily="2" charset="2"/>
              <a:buChar char="q"/>
            </a:pPr>
            <a:r>
              <a:rPr lang="en-US" sz="2000" dirty="0"/>
              <a:t>Develop detailed understanding of </a:t>
            </a:r>
            <a:r>
              <a:rPr lang="en-US" sz="2000" dirty="0" err="1"/>
              <a:t>yaml</a:t>
            </a:r>
            <a:r>
              <a:rPr lang="en-US" sz="2000" dirty="0"/>
              <a:t> file and GitHub Actions.</a:t>
            </a:r>
          </a:p>
          <a:p>
            <a:pPr>
              <a:buFont typeface="Wingdings" panose="05000000000000000000" pitchFamily="2" charset="2"/>
              <a:buChar char="q"/>
            </a:pPr>
            <a:r>
              <a:rPr lang="en-US" sz="2000" dirty="0"/>
              <a:t>Practice Query writing.</a:t>
            </a: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18" name="Picture 2" descr="GitHub - styfle/cancel-workflow-action: ⏹️ GitHub Action to cancel ...">
            <a:extLst>
              <a:ext uri="{FF2B5EF4-FFF2-40B4-BE49-F238E27FC236}">
                <a16:creationId xmlns:a16="http://schemas.microsoft.com/office/drawing/2014/main" id="{5AA05C8C-5E43-5B28-A3E2-1AB48AABEAD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684" r="25710"/>
          <a:stretch/>
        </p:blipFill>
        <p:spPr bwMode="auto">
          <a:xfrm>
            <a:off x="6739342" y="1501879"/>
            <a:ext cx="4688340" cy="4682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682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Understanding the configuration of VMs</a:t>
            </a:r>
          </a:p>
          <a:p>
            <a:r>
              <a:rPr lang="en-US" sz="2000" dirty="0">
                <a:effectLst>
                  <a:outerShdw blurRad="38100" dist="38100" dir="2700000" algn="tl">
                    <a:srgbClr val="000000">
                      <a:alpha val="43137"/>
                    </a:srgbClr>
                  </a:outerShdw>
                </a:effectLst>
              </a:rPr>
              <a:t>Practicing PostgreSQL queries</a:t>
            </a:r>
          </a:p>
          <a:p>
            <a:r>
              <a:rPr lang="en-US" sz="2000" dirty="0">
                <a:effectLst>
                  <a:outerShdw blurRad="38100" dist="38100" dir="2700000" algn="tl">
                    <a:srgbClr val="000000">
                      <a:alpha val="43137"/>
                    </a:srgbClr>
                  </a:outerShdw>
                </a:effectLst>
              </a:rPr>
              <a:t>Practicing Azure DevOps</a:t>
            </a:r>
          </a:p>
          <a:p>
            <a:r>
              <a:rPr lang="en-US" sz="2000" dirty="0">
                <a:effectLst>
                  <a:outerShdw blurRad="38100" dist="38100" dir="2700000" algn="tl">
                    <a:srgbClr val="000000">
                      <a:alpha val="43137"/>
                    </a:srgbClr>
                  </a:outerShdw>
                </a:effectLst>
              </a:rPr>
              <a:t>Test case development for sites to practic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Saturday- Learn more about VMs</a:t>
            </a:r>
          </a:p>
          <a:p>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Sunday- Practice DevOps and STLC</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ill be complet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1205307" y="0"/>
            <a:ext cx="986692" cy="1052731"/>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05307" y="124675"/>
            <a:ext cx="928058" cy="928058"/>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298202" y="1751925"/>
            <a:ext cx="511119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sz="2000" dirty="0" err="1"/>
              <a:t>Sohel</a:t>
            </a:r>
            <a:r>
              <a:rPr lang="en-US" sz="2000" dirty="0"/>
              <a:t> sir taught us all aspects of the technical training in a detailed manner and ensured that we got enough hands-on experience for creating VMs and using Azure DevOps. </a:t>
            </a:r>
          </a:p>
          <a:p>
            <a:pPr marL="0" indent="0">
              <a:buNone/>
            </a:pPr>
            <a:r>
              <a:rPr lang="en-US" sz="2000" dirty="0"/>
              <a:t>He also made sure we engaged in multiple team activities. Finding bugs for multiple websites along with your teammates and then creating defect reports for the same was an interesting experience and a great learning opportunity.</a:t>
            </a:r>
          </a:p>
        </p:txBody>
      </p:sp>
      <p:pic>
        <p:nvPicPr>
          <p:cNvPr id="8" name="Picture 7" descr="A group of people posing for a photo&#10;&#10;Description automatically generated">
            <a:extLst>
              <a:ext uri="{FF2B5EF4-FFF2-40B4-BE49-F238E27FC236}">
                <a16:creationId xmlns:a16="http://schemas.microsoft.com/office/drawing/2014/main" id="{52D314A5-045E-31B5-E36F-1898411F8511}"/>
              </a:ext>
            </a:extLst>
          </p:cNvPr>
          <p:cNvPicPr>
            <a:picLocks noChangeAspect="1"/>
          </p:cNvPicPr>
          <p:nvPr/>
        </p:nvPicPr>
        <p:blipFill rotWithShape="1">
          <a:blip r:embed="rId7">
            <a:extLst>
              <a:ext uri="{28A0092B-C50C-407E-A947-70E740481C1C}">
                <a14:useLocalDpi xmlns:a14="http://schemas.microsoft.com/office/drawing/2010/main" val="0"/>
              </a:ext>
            </a:extLst>
          </a:blip>
          <a:srcRect l="3975" t="15351" r="11824" b="2029"/>
          <a:stretch/>
        </p:blipFill>
        <p:spPr>
          <a:xfrm>
            <a:off x="5717406" y="1285372"/>
            <a:ext cx="6294922" cy="463252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en-US" sz="2000" dirty="0"/>
          </a:p>
          <a:p>
            <a:pPr>
              <a:lnSpc>
                <a:spcPct val="100000"/>
              </a:lnSpc>
            </a:pPr>
            <a:r>
              <a:rPr lang="en-US" sz="2000" dirty="0"/>
              <a:t>The final study was stressful yet exhilarating. The experience will come in handy in our corporate career.</a:t>
            </a:r>
          </a:p>
          <a:p>
            <a:pPr>
              <a:lnSpc>
                <a:spcPct val="100000"/>
              </a:lnSpc>
            </a:pPr>
            <a:r>
              <a:rPr lang="en-US" sz="2000" dirty="0"/>
              <a:t>CI/CD Pipeline using GitHub Actions is crucial for deploying builds.</a:t>
            </a:r>
          </a:p>
          <a:p>
            <a:pPr>
              <a:lnSpc>
                <a:spcPct val="100000"/>
              </a:lnSpc>
            </a:pPr>
            <a:r>
              <a:rPr lang="en-US" sz="2000" dirty="0"/>
              <a:t>Azure DevOps is widely used for Agile framework using SCRUM methodology in the software industry.</a:t>
            </a:r>
          </a:p>
          <a:p>
            <a:pPr>
              <a:lnSpc>
                <a:spcPct val="100000"/>
              </a:lnSpc>
            </a:pPr>
            <a:r>
              <a:rPr lang="en-US" sz="2000" dirty="0"/>
              <a:t>PostgreSQL is a relational Database Management System with advanced features.</a:t>
            </a:r>
          </a:p>
          <a:p>
            <a:pPr>
              <a:lnSpc>
                <a:spcPct val="100000"/>
              </a:lnSpc>
            </a:pPr>
            <a:endParaRPr lang="en-US" sz="2000" dirty="0"/>
          </a:p>
          <a:p>
            <a:pPr marL="0" indent="0">
              <a:lnSpc>
                <a:spcPct val="100000"/>
              </a:lnSpc>
              <a:buNone/>
            </a:pP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Quiet persistence leads to unstoppable progress. </a:t>
            </a:r>
          </a:p>
          <a:p>
            <a:pPr marL="0" indent="0" algn="ctr">
              <a:buFont typeface="Arial" panose="020B0604020202020204" pitchFamily="34" charset="0"/>
              <a:buNone/>
            </a:pPr>
            <a:endParaRPr lang="en-US" sz="2000" dirty="0"/>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1026" name="Picture 2" descr="WORK JOYFULLY AND PEACEFULLY by vishakha jeet on Dribbble">
            <a:extLst>
              <a:ext uri="{FF2B5EF4-FFF2-40B4-BE49-F238E27FC236}">
                <a16:creationId xmlns:a16="http://schemas.microsoft.com/office/drawing/2014/main" id="{3810DC72-6659-1400-C59B-2D933DE231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0799" y="1831738"/>
            <a:ext cx="543593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65861" y="207027"/>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5861" y="959524"/>
            <a:ext cx="7744499" cy="542864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Azure VM &amp; Azure DevOps</a:t>
            </a:r>
          </a:p>
          <a:p>
            <a:pPr marL="0" indent="0">
              <a:buNone/>
            </a:pPr>
            <a:r>
              <a:rPr lang="en-US" dirty="0"/>
              <a:t>Key takeaways:</a:t>
            </a:r>
          </a:p>
          <a:p>
            <a:r>
              <a:rPr lang="en-US" dirty="0"/>
              <a:t>User Story and tasks Creation</a:t>
            </a:r>
          </a:p>
          <a:p>
            <a:r>
              <a:rPr lang="en-US" dirty="0"/>
              <a:t>Sprint Backlog, Product Backlog</a:t>
            </a:r>
          </a:p>
          <a:p>
            <a:r>
              <a:rPr lang="en-US" dirty="0"/>
              <a:t>Sprint Board</a:t>
            </a:r>
          </a:p>
          <a:p>
            <a:r>
              <a:rPr lang="en-US" dirty="0"/>
              <a:t>Definition of Ready &amp; Definition of Done(DOR &amp; DOD)</a:t>
            </a:r>
          </a:p>
          <a:p>
            <a:r>
              <a:rPr lang="en-US" dirty="0"/>
              <a:t>Acceptance Criteria</a:t>
            </a:r>
          </a:p>
          <a:p>
            <a:r>
              <a:rPr lang="en-US" dirty="0"/>
              <a:t>Creation and configuration of Virtual Machine</a:t>
            </a:r>
          </a:p>
          <a:p>
            <a:r>
              <a:rPr lang="en-US" dirty="0"/>
              <a:t>Cloud(</a:t>
            </a:r>
            <a:r>
              <a:rPr lang="en-US" dirty="0" err="1"/>
              <a:t>IaaS,PaaS,SaaS</a:t>
            </a:r>
            <a:r>
              <a:rPr lang="en-US" dirty="0"/>
              <a:t>)</a:t>
            </a:r>
          </a:p>
          <a:p>
            <a:pPr marL="0" indent="0">
              <a:buNone/>
            </a:pPr>
            <a:r>
              <a:rPr lang="en-US" dirty="0"/>
              <a:t>Implementation in the Energy sector:</a:t>
            </a:r>
          </a:p>
          <a:p>
            <a:pPr>
              <a:buFont typeface="Wingdings" panose="05000000000000000000" pitchFamily="2" charset="2"/>
              <a:buChar char="q"/>
            </a:pPr>
            <a:r>
              <a:rPr lang="en-US" b="0" i="0" dirty="0">
                <a:solidFill>
                  <a:srgbClr val="111111"/>
                </a:solidFill>
                <a:effectLst/>
                <a:latin typeface="-apple-system"/>
              </a:rPr>
              <a:t>Azure VMs can be used to create scalable and flexible infrastructure for energy management systems</a:t>
            </a:r>
          </a:p>
          <a:p>
            <a:pPr>
              <a:buFont typeface="Wingdings" panose="05000000000000000000" pitchFamily="2" charset="2"/>
              <a:buChar char="q"/>
            </a:pPr>
            <a:r>
              <a:rPr lang="en-US" b="0" i="0" dirty="0">
                <a:solidFill>
                  <a:srgbClr val="111111"/>
                </a:solidFill>
                <a:effectLst/>
                <a:latin typeface="-apple-system"/>
              </a:rPr>
              <a:t>Azure DevOps facilitates better collaboration among teams working on energy projects by providing tools for version control, continuous integration, and continuous deployment.</a:t>
            </a:r>
          </a:p>
          <a:p>
            <a:pPr>
              <a:buFont typeface="Wingdings" panose="05000000000000000000" pitchFamily="2" charset="2"/>
              <a:buChar char="q"/>
            </a:pPr>
            <a:r>
              <a:rPr lang="en-US" b="0" i="0" dirty="0">
                <a:solidFill>
                  <a:srgbClr val="111111"/>
                </a:solidFill>
                <a:effectLst/>
                <a:latin typeface="-apple-system"/>
              </a:rPr>
              <a:t>Utilizing cloud services like IaaS, PaaS, and SaaS can significantly reduce the costs associated with maintaining physical servers and infrastructure</a:t>
            </a:r>
            <a:endParaRPr lang="en-US" dirty="0">
              <a:solidFill>
                <a:srgbClr val="111111"/>
              </a:solidFill>
            </a:endParaRPr>
          </a:p>
        </p:txBody>
      </p:sp>
      <p:pic>
        <p:nvPicPr>
          <p:cNvPr id="1026" name="Picture 2" descr="Configure Your Azure Devops Pipeline Ci Cd | lupon.gov.ph">
            <a:extLst>
              <a:ext uri="{FF2B5EF4-FFF2-40B4-BE49-F238E27FC236}">
                <a16:creationId xmlns:a16="http://schemas.microsoft.com/office/drawing/2014/main" id="{029E9A52-6361-496E-47E3-6C89247B5C2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931" r="1968"/>
          <a:stretch/>
        </p:blipFill>
        <p:spPr bwMode="auto">
          <a:xfrm>
            <a:off x="8357451" y="1780674"/>
            <a:ext cx="3759501" cy="2486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53868" y="1175985"/>
            <a:ext cx="6836203" cy="521218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Testing &amp; STLC</a:t>
            </a:r>
          </a:p>
          <a:p>
            <a:pPr marL="0" indent="0">
              <a:buNone/>
            </a:pPr>
            <a:r>
              <a:rPr lang="en-US" dirty="0"/>
              <a:t>Key takeaways:</a:t>
            </a:r>
          </a:p>
          <a:p>
            <a:r>
              <a:rPr lang="en-US" dirty="0"/>
              <a:t>Functional and Non-Functional Testing</a:t>
            </a:r>
          </a:p>
          <a:p>
            <a:r>
              <a:rPr lang="en-US" dirty="0"/>
              <a:t>System Testing Hierarchy</a:t>
            </a:r>
          </a:p>
          <a:p>
            <a:r>
              <a:rPr lang="en-US" dirty="0"/>
              <a:t>Testing Types(Smoke, Regression, </a:t>
            </a:r>
            <a:r>
              <a:rPr lang="en-US" dirty="0" err="1"/>
              <a:t>Adhoc</a:t>
            </a:r>
            <a:r>
              <a:rPr lang="en-US" dirty="0"/>
              <a:t>, Performance)</a:t>
            </a:r>
          </a:p>
          <a:p>
            <a:r>
              <a:rPr lang="en-US" dirty="0"/>
              <a:t>Test Plan Document and Test Case Development</a:t>
            </a:r>
          </a:p>
          <a:p>
            <a:r>
              <a:rPr lang="en-US" dirty="0"/>
              <a:t>Behavioral Driven Development using Gherkin</a:t>
            </a:r>
          </a:p>
          <a:p>
            <a:r>
              <a:rPr lang="en-US" dirty="0"/>
              <a:t>Bug Life Cycle &amp; Defect Report</a:t>
            </a:r>
          </a:p>
          <a:p>
            <a:r>
              <a:rPr lang="en-US" dirty="0"/>
              <a:t>Test Driven Development</a:t>
            </a:r>
          </a:p>
          <a:p>
            <a:pPr marL="0" indent="0">
              <a:buNone/>
            </a:pPr>
            <a:r>
              <a:rPr lang="en-US" dirty="0"/>
              <a:t>Implementation in the Energy sector:</a:t>
            </a:r>
          </a:p>
          <a:p>
            <a:pPr>
              <a:buFont typeface="Wingdings" panose="05000000000000000000" pitchFamily="2" charset="2"/>
              <a:buChar char="q"/>
            </a:pPr>
            <a:r>
              <a:rPr lang="en-US" b="0" i="0" dirty="0">
                <a:solidFill>
                  <a:srgbClr val="111111"/>
                </a:solidFill>
                <a:effectLst/>
                <a:latin typeface="-apple-system"/>
              </a:rPr>
              <a:t>By conducting thorough unit, integration, system, and acceptance testing, energy companies can ensure that their systems are robust and reliable, minimizing downtime and improving service continuity.</a:t>
            </a:r>
          </a:p>
          <a:p>
            <a:pPr>
              <a:buFont typeface="Wingdings" panose="05000000000000000000" pitchFamily="2" charset="2"/>
              <a:buChar char="q"/>
            </a:pPr>
            <a:r>
              <a:rPr lang="en-US" dirty="0">
                <a:solidFill>
                  <a:srgbClr val="111111"/>
                </a:solidFill>
                <a:latin typeface="-apple-system"/>
              </a:rPr>
              <a:t>Gherkin f</a:t>
            </a:r>
            <a:r>
              <a:rPr lang="en-US" b="0" i="0" dirty="0">
                <a:solidFill>
                  <a:srgbClr val="111111"/>
                </a:solidFill>
                <a:effectLst/>
                <a:latin typeface="-apple-system"/>
              </a:rPr>
              <a:t>acilitates clear communication between developers, testers, and business stakeholders, ensuring that the developed systems meet the actual needs of the energy sector.</a:t>
            </a:r>
            <a:endParaRPr lang="en-US" dirty="0"/>
          </a:p>
        </p:txBody>
      </p:sp>
      <p:pic>
        <p:nvPicPr>
          <p:cNvPr id="2052" name="Picture 4" descr="Functional Testing – Everything You Need To Know">
            <a:extLst>
              <a:ext uri="{FF2B5EF4-FFF2-40B4-BE49-F238E27FC236}">
                <a16:creationId xmlns:a16="http://schemas.microsoft.com/office/drawing/2014/main" id="{A0D841E6-3C43-302A-DD84-F478DE2CCAA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96175" y="1670620"/>
            <a:ext cx="4514850" cy="4514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1693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53869" y="1175985"/>
            <a:ext cx="5969929" cy="521218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PostgreSQL &amp; CI/CD </a:t>
            </a:r>
          </a:p>
          <a:p>
            <a:pPr marL="0" indent="0">
              <a:buNone/>
            </a:pPr>
            <a:r>
              <a:rPr lang="en-US" dirty="0"/>
              <a:t>Key takeaways:</a:t>
            </a:r>
          </a:p>
          <a:p>
            <a:r>
              <a:rPr lang="en-US" dirty="0"/>
              <a:t>CRUD operations</a:t>
            </a:r>
          </a:p>
          <a:p>
            <a:r>
              <a:rPr lang="en-US" dirty="0"/>
              <a:t>DDL,DML &amp; DQL</a:t>
            </a:r>
          </a:p>
          <a:p>
            <a:r>
              <a:rPr lang="en-US" dirty="0"/>
              <a:t>Creation of Queries</a:t>
            </a:r>
          </a:p>
          <a:p>
            <a:r>
              <a:rPr lang="en-US" dirty="0"/>
              <a:t>Architecture &amp; API protocols</a:t>
            </a:r>
          </a:p>
          <a:p>
            <a:r>
              <a:rPr lang="en-US" dirty="0"/>
              <a:t>Integration using Maven</a:t>
            </a:r>
          </a:p>
          <a:p>
            <a:r>
              <a:rPr lang="en-US" dirty="0"/>
              <a:t>GitHub Actions and </a:t>
            </a:r>
            <a:r>
              <a:rPr lang="en-US" dirty="0" err="1"/>
              <a:t>yml</a:t>
            </a:r>
            <a:r>
              <a:rPr lang="en-US" dirty="0"/>
              <a:t> file creation</a:t>
            </a:r>
          </a:p>
          <a:p>
            <a:pPr marL="0" indent="0">
              <a:buNone/>
            </a:pPr>
            <a:endParaRPr lang="en-US" dirty="0"/>
          </a:p>
          <a:p>
            <a:pPr marL="0" indent="0">
              <a:buNone/>
            </a:pPr>
            <a:r>
              <a:rPr lang="en-US" dirty="0"/>
              <a:t>Implementation in the Energy sector:</a:t>
            </a:r>
          </a:p>
          <a:p>
            <a:pPr>
              <a:buFont typeface="Wingdings" panose="05000000000000000000" pitchFamily="2" charset="2"/>
              <a:buChar char="q"/>
            </a:pPr>
            <a:r>
              <a:rPr lang="en-US" dirty="0"/>
              <a:t>PostgreSQL: Used for storing and managing large volumes of energy consumption and production data.</a:t>
            </a:r>
          </a:p>
          <a:p>
            <a:pPr>
              <a:buFont typeface="Wingdings" panose="05000000000000000000" pitchFamily="2" charset="2"/>
              <a:buChar char="q"/>
            </a:pPr>
            <a:r>
              <a:rPr lang="en-US" dirty="0"/>
              <a:t>Implementing CI/CD pipelines using GitHub Actions ensures that updates to energy management systems are tested and deployed automatically, reducing downtime and improving reliability.</a:t>
            </a:r>
          </a:p>
        </p:txBody>
      </p:sp>
      <p:pic>
        <p:nvPicPr>
          <p:cNvPr id="3076" name="Picture 4" descr="CRUD Operations in SQL - javatpoint">
            <a:extLst>
              <a:ext uri="{FF2B5EF4-FFF2-40B4-BE49-F238E27FC236}">
                <a16:creationId xmlns:a16="http://schemas.microsoft.com/office/drawing/2014/main" id="{600A7D42-C374-FE8E-0EF0-77FFFB1047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6647" y="1749710"/>
            <a:ext cx="5516752" cy="3084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02389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Azure VM &amp; Azure DevOps</a:t>
            </a:r>
          </a:p>
          <a:p>
            <a:pPr marL="0" indent="0">
              <a:buNone/>
            </a:pPr>
            <a:r>
              <a:rPr lang="en-US" sz="2000" dirty="0"/>
              <a:t>How I feel Shell implements this learning</a:t>
            </a:r>
          </a:p>
          <a:p>
            <a:pPr marL="0" indent="0">
              <a:buNone/>
            </a:pPr>
            <a:r>
              <a:rPr lang="en-US" b="0" i="0" dirty="0">
                <a:solidFill>
                  <a:srgbClr val="111111"/>
                </a:solidFill>
                <a:effectLst/>
                <a:latin typeface="-apple-system"/>
              </a:rPr>
              <a:t>Shell employs Azure DevOps to meticulously create and manage user stories and tasks, ensuring clear project requirements and responsibilities. Additionally, Shell uses Azure VMs to create scalable and flexible infrastructure, leveraging different cloud models (IaaS, PaaS, SaaS) to optimize its IT environment.</a:t>
            </a:r>
            <a:endParaRPr lang="en-US" dirty="0"/>
          </a:p>
          <a:p>
            <a:pPr marL="0" indent="0">
              <a:buNone/>
            </a:pPr>
            <a:r>
              <a:rPr lang="en-US" sz="2000" dirty="0"/>
              <a:t>How I feel Shell benefits from this learning</a:t>
            </a:r>
          </a:p>
          <a:p>
            <a:pPr marL="0" indent="0">
              <a:buNone/>
            </a:pPr>
            <a:r>
              <a:rPr lang="en-US" dirty="0">
                <a:solidFill>
                  <a:srgbClr val="111111"/>
                </a:solidFill>
                <a:latin typeface="-apple-system"/>
              </a:rPr>
              <a:t>Azure DevOps tools enhance collaboration among teams, improving project management, version control, and CI/CD processes, leading to faster development cycles and higher-quality outputs. Utilizing cloud services like IaaS, PaaS, and SaaS reduces costs associated with maintaining physical servers and infrastructure, allowing Shell to allocate resources more efficiently, invest in innovation, and enhance overall business performance. This comprehensive approach enables Shell to respond swiftly to market changes and operational needs, driving better performance and innovation in the energy sector.</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Cloud computing and the differences between IaaS, PaaS and SaaS - BPI ...">
            <a:extLst>
              <a:ext uri="{FF2B5EF4-FFF2-40B4-BE49-F238E27FC236}">
                <a16:creationId xmlns:a16="http://schemas.microsoft.com/office/drawing/2014/main" id="{5D403408-0D9C-5668-5926-72A7E773705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1509" y="1549741"/>
            <a:ext cx="4514850" cy="472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1520"/>
            <a:ext cx="5653806" cy="499340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u="sng" dirty="0"/>
              <a:t>Testing &amp; STLC</a:t>
            </a:r>
          </a:p>
          <a:p>
            <a:pPr marL="0" indent="0">
              <a:buNone/>
            </a:pPr>
            <a:r>
              <a:rPr lang="en-US" sz="2000" dirty="0"/>
              <a:t>How I feel Shell implements this learning</a:t>
            </a:r>
          </a:p>
          <a:p>
            <a:pPr marL="0" indent="0">
              <a:buNone/>
            </a:pPr>
            <a:r>
              <a:rPr lang="en-US" b="0" i="0" dirty="0">
                <a:solidFill>
                  <a:srgbClr val="111111"/>
                </a:solidFill>
                <a:effectLst/>
                <a:latin typeface="-apple-system"/>
              </a:rPr>
              <a:t>Shell conducts thorough functional and non-functional testing to ensure robust systems. It follows a structured testing hierarchy and employs various testing types. Test plans and cases guide the process, while BDD with Gherkin ensures clear communication. The bug life cycle and TDD practices maintain high-quality code.</a:t>
            </a:r>
          </a:p>
          <a:p>
            <a:pPr marL="0" indent="0">
              <a:buNone/>
            </a:pPr>
            <a:endParaRPr lang="en-US" sz="2000" dirty="0"/>
          </a:p>
          <a:p>
            <a:pPr marL="0" indent="0">
              <a:buNone/>
            </a:pPr>
            <a:r>
              <a:rPr lang="en-US" sz="2000" dirty="0"/>
              <a:t>How I feel Shell benefits from this learning</a:t>
            </a:r>
          </a:p>
          <a:p>
            <a:pPr marL="0" indent="0">
              <a:buNone/>
            </a:pPr>
            <a:r>
              <a:rPr lang="en-US" b="0" i="0" dirty="0">
                <a:solidFill>
                  <a:srgbClr val="111111"/>
                </a:solidFill>
                <a:effectLst/>
                <a:latin typeface="-apple-system"/>
              </a:rPr>
              <a:t>Comprehensive testing ensures robust, reliable systems, minimizing downtime and improving service continuity. BDD with Gherkin facilitates clear communication, aligning developed systems with energy sector needs. These practices enhance Shell’s ability to deliver reliable energy solutions and maintain high service standards.</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Image result for stlc">
            <a:extLst>
              <a:ext uri="{FF2B5EF4-FFF2-40B4-BE49-F238E27FC236}">
                <a16:creationId xmlns:a16="http://schemas.microsoft.com/office/drawing/2014/main" id="{BDFF9B67-618B-81F3-981C-9182EEA0AB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3884" y="1659343"/>
            <a:ext cx="5239944" cy="43666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6075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145</TotalTime>
  <Words>1166</Words>
  <Application>Microsoft Office PowerPoint</Application>
  <PresentationFormat>Widescreen</PresentationFormat>
  <Paragraphs>150</Paragraphs>
  <Slides>1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pple-system</vt:lpstr>
      <vt:lpstr>Arial</vt:lpstr>
      <vt:lpstr>Calibri</vt:lpstr>
      <vt:lpstr>Wingding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oel, Akanksha SBOBNG-PTIY/BFE</cp:lastModifiedBy>
  <cp:revision>500</cp:revision>
  <dcterms:created xsi:type="dcterms:W3CDTF">2022-01-18T12:35:56Z</dcterms:created>
  <dcterms:modified xsi:type="dcterms:W3CDTF">2024-09-06T11:2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